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20" r:id="rId9"/>
    <p:sldId id="322" r:id="rId10"/>
    <p:sldId id="321" r:id="rId11"/>
    <p:sldId id="323" r:id="rId12"/>
    <p:sldId id="326" r:id="rId13"/>
  </p:sldIdLst>
  <p:sldSz cx="12192000" cy="6858000"/>
  <p:notesSz cx="9926638" cy="6797675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34" autoAdjust="0"/>
    <p:restoredTop sz="95995" autoAdjust="0"/>
  </p:normalViewPr>
  <p:slideViewPr>
    <p:cSldViewPr snapToGrid="0">
      <p:cViewPr>
        <p:scale>
          <a:sx n="110" d="100"/>
          <a:sy n="110" d="100"/>
        </p:scale>
        <p:origin x="1312" y="504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5.10.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15/23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361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361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751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87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680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989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167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753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31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01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2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3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5.gif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appygitwithr.com/install-git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forwindows.org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hyperlink" Target="https://github.com/tds2023-24/course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EADFCB-090E-BD4F-BCA7-6571D8FEB3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638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 vert="horz"/>
          <a:lstStyle/>
          <a:p>
            <a:r>
              <a:rPr lang="de-CH" dirty="0"/>
              <a:t>Topics in Data Science 2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Workflo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702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ssignment Submission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will have to work on assignments to qualify for the (graded) capstone project</a:t>
            </a:r>
          </a:p>
          <a:p>
            <a:r>
              <a:rPr lang="en-US" dirty="0"/>
              <a:t>Assignments are submitted via GitHub pull requests</a:t>
            </a:r>
          </a:p>
          <a:p>
            <a:r>
              <a:rPr lang="en-US" dirty="0"/>
              <a:t>To work on your assignment, you have to create your own fork on GitHub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assignment in WueCampus classroom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Login using GitHub Accou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Join the GitHub classroom by clicking on your nam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Accept the assignme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ait for GitHub classroom to configure your repository and click on the lin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new branch named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0A3FF116-03C7-C44E-BBD9-B073BB90453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3042259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223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4672CA-C2AB-6140-9B15-A1FEF775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Google </a:t>
            </a:r>
            <a:r>
              <a:rPr lang="en-US" dirty="0" err="1"/>
              <a:t>Colab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recommend that you work on your assignments using Google </a:t>
            </a:r>
            <a:r>
              <a:rPr lang="en-US" dirty="0" err="1"/>
              <a:t>Colab</a:t>
            </a:r>
            <a:endParaRPr lang="en-US" dirty="0"/>
          </a:p>
          <a:p>
            <a:r>
              <a:rPr lang="en-US" dirty="0"/>
              <a:t>To modify and submit your assignments via Google </a:t>
            </a:r>
            <a:r>
              <a:rPr lang="en-US" dirty="0" err="1"/>
              <a:t>Colab</a:t>
            </a:r>
            <a:r>
              <a:rPr lang="en-US" dirty="0"/>
              <a:t>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Google </a:t>
            </a:r>
            <a:r>
              <a:rPr lang="en-US" dirty="0" err="1"/>
              <a:t>Colab</a:t>
            </a:r>
            <a:r>
              <a:rPr lang="en-US" dirty="0"/>
              <a:t> link in your GitHub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Open Notebook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GitHub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arch for “tds2023-24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open the noteboo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ake changes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Save to </a:t>
            </a:r>
            <a:r>
              <a:rPr lang="en-US" dirty="0" err="1"/>
              <a:t>github</a:t>
            </a:r>
            <a:r>
              <a:rPr lang="en-US" dirty="0"/>
              <a:t>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add a commit messag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D3E51C62-01AC-FF46-A75F-C9A29E7CD60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953932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B0432B-B56E-E740-8A67-579C976EDD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6938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8D40BB-84C2-8041-B603-8A3A4DBD2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Local)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B57EA5-3379-2D4D-83D1-4B2E03731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 course, you don’t have to use Google </a:t>
            </a:r>
            <a:r>
              <a:rPr lang="en-US" dirty="0" err="1"/>
              <a:t>Colab</a:t>
            </a:r>
            <a:r>
              <a:rPr lang="en-US" dirty="0"/>
              <a:t> for your submissions. Follow this steps to submit your assignments if you prefer working local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one your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ove into the repository’s folder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Fetch all branches and checkout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ork on the assignment and push changes to branch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A87B75-EE86-9744-B824-A120516B22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1" name="Content Placeholder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2D0D4A2-EE6C-EF4D-A0A0-9368C63871DF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2232219"/>
            <a:ext cx="5360988" cy="3065074"/>
          </a:xfrm>
        </p:spPr>
      </p:pic>
    </p:spTree>
    <p:extLst>
      <p:ext uri="{BB962C8B-B14F-4D97-AF65-F5344CB8AC3E}">
        <p14:creationId xmlns:p14="http://schemas.microsoft.com/office/powerpoint/2010/main" val="1982210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3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4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The same very good tutorial:</a:t>
            </a:r>
          </a:p>
          <a:p>
            <a:r>
              <a:rPr lang="en-US" sz="1800" dirty="0">
                <a:hlinkClick r:id="rId3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6FB5AC-C24B-0246-84E0-8027352048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9007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008CF0-A787-5E46-9C64-D2B96F19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TDS repositor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23307-ED3F-264A-B82A-5030C44FF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We provide a repository for our class at:</a:t>
            </a:r>
          </a:p>
          <a:p>
            <a:pPr marL="309563" lvl="1" indent="0">
              <a:buNone/>
            </a:pPr>
            <a:r>
              <a:rPr lang="en-US" sz="1800" dirty="0">
                <a:hlinkClick r:id="rId6"/>
              </a:rPr>
              <a:t>https://github.com/tds2023-24/course</a:t>
            </a:r>
            <a:r>
              <a:rPr lang="en-US" sz="1800" dirty="0"/>
              <a:t> </a:t>
            </a:r>
          </a:p>
          <a:p>
            <a:pPr marL="309563" lvl="1" indent="0">
              <a:buNone/>
            </a:pPr>
            <a:endParaRPr lang="en-US" sz="1800" dirty="0"/>
          </a:p>
          <a:p>
            <a:r>
              <a:rPr lang="en-US" sz="1800" dirty="0"/>
              <a:t>We will use this repository to upload:</a:t>
            </a:r>
          </a:p>
          <a:p>
            <a:pPr lvl="1"/>
            <a:r>
              <a:rPr lang="en-US" sz="1800" dirty="0"/>
              <a:t>Jupyter Notebooks from the lectures</a:t>
            </a:r>
          </a:p>
          <a:p>
            <a:pPr lvl="1"/>
            <a:r>
              <a:rPr lang="en-US" sz="1800" dirty="0"/>
              <a:t>Solutions for the assignments</a:t>
            </a:r>
          </a:p>
          <a:p>
            <a:pPr lvl="1"/>
            <a:r>
              <a:rPr lang="en-US" sz="1800" dirty="0"/>
              <a:t>Interesting and helpful stuff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F55C3B-B534-144F-9A0E-0691DE7E6F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Grafik 5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6DF1A725-25CA-1A34-64AA-A229B7B175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681" y="1874714"/>
            <a:ext cx="6388319" cy="310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7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0</TotalTime>
  <Words>569</Words>
  <Application>Microsoft Macintosh PowerPoint</Application>
  <PresentationFormat>Breitbild</PresentationFormat>
  <Paragraphs>118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Topics in Data Science 2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The TDS repository</vt:lpstr>
      <vt:lpstr>Assignment Submission Workflow</vt:lpstr>
      <vt:lpstr>Assignment Submission Workflow (Google Colab)</vt:lpstr>
      <vt:lpstr>Assignment Submission Workflow (Local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Justus Ameling</cp:lastModifiedBy>
  <cp:revision>42</cp:revision>
  <cp:lastPrinted>2018-08-28T11:15:39Z</cp:lastPrinted>
  <dcterms:created xsi:type="dcterms:W3CDTF">2019-10-14T17:48:10Z</dcterms:created>
  <dcterms:modified xsi:type="dcterms:W3CDTF">2023-10-17T09:01:3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